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89"/>
    <p:restoredTop sz="95788"/>
  </p:normalViewPr>
  <p:slideViewPr>
    <p:cSldViewPr snapToGrid="0">
      <p:cViewPr varScale="1">
        <p:scale>
          <a:sx n="125" d="100"/>
          <a:sy n="125" d="100"/>
        </p:scale>
        <p:origin x="176" y="464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21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Datum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446550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Funktion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10-15 </a:t>
            </a:r>
            <a:r>
              <a:rPr lang="de-CH" sz="1500" b="1" dirty="0">
                <a:solidFill>
                  <a:prstClr val="black"/>
                </a:solidFill>
                <a:latin typeface="Calibri"/>
              </a:rPr>
              <a:t>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BCECCD8E-9B10-E141-BEEB-20EDDD97E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777378"/>
              </p:ext>
            </p:extLst>
          </p:nvPr>
        </p:nvGraphicFramePr>
        <p:xfrm>
          <a:off x="477715" y="1273810"/>
          <a:ext cx="8191500" cy="3289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4039">
                  <a:extLst>
                    <a:ext uri="{9D8B030D-6E8A-4147-A177-3AD203B41FA5}">
                      <a16:colId xmlns:a16="http://schemas.microsoft.com/office/drawing/2014/main" val="61049810"/>
                    </a:ext>
                  </a:extLst>
                </a:gridCol>
                <a:gridCol w="5187461">
                  <a:extLst>
                    <a:ext uri="{9D8B030D-6E8A-4147-A177-3AD203B41FA5}">
                      <a16:colId xmlns:a16="http://schemas.microsoft.com/office/drawing/2014/main" val="385410762"/>
                    </a:ext>
                  </a:extLst>
                </a:gridCol>
              </a:tblGrid>
              <a:tr h="328940">
                <a:tc>
                  <a:txBody>
                    <a:bodyPr/>
                    <a:lstStyle/>
                    <a:p>
                      <a:r>
                        <a:rPr lang="de-DE" dirty="0"/>
                        <a:t>Zu bewertender Fak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wertung 1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9401115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Übersichtlichkei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657022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Strukt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869574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Bedien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1205891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Erklä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76185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Glaubwürdig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74428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Nachvollziehbar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700890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678140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Nützlich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3855123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wendbar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5807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6A11B461-7F3D-5D49-B07E-1BBBEB10B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922969"/>
              </p:ext>
            </p:extLst>
          </p:nvPr>
        </p:nvGraphicFramePr>
        <p:xfrm>
          <a:off x="438600" y="1241620"/>
          <a:ext cx="82668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61465">
                  <a:extLst>
                    <a:ext uri="{9D8B030D-6E8A-4147-A177-3AD203B41FA5}">
                      <a16:colId xmlns:a16="http://schemas.microsoft.com/office/drawing/2014/main" val="2926912899"/>
                    </a:ext>
                  </a:extLst>
                </a:gridCol>
                <a:gridCol w="826477">
                  <a:extLst>
                    <a:ext uri="{9D8B030D-6E8A-4147-A177-3AD203B41FA5}">
                      <a16:colId xmlns:a16="http://schemas.microsoft.com/office/drawing/2014/main" val="4034516113"/>
                    </a:ext>
                  </a:extLst>
                </a:gridCol>
                <a:gridCol w="678858">
                  <a:extLst>
                    <a:ext uri="{9D8B030D-6E8A-4147-A177-3AD203B41FA5}">
                      <a16:colId xmlns:a16="http://schemas.microsoft.com/office/drawing/2014/main" val="933594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313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wiefern vertrauen Sie den Vorhersagen der Applika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5926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wiefern können Sie die Vorhersagen nachvollzieh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8576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realistis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9407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glaubwürdi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7114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ind die Erklärungen in der App für Sie verständli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1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st die Bedienung der App für Sie intuitiv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1907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ten Sie sich vorstellen eine solche Applikation bei der Menüplanung zu verwend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9515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525</Words>
  <Application>Microsoft Macintosh PowerPoint</Application>
  <PresentationFormat>Bildschirmpräsentation (16:9)</PresentationFormat>
  <Paragraphs>111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4</cp:revision>
  <cp:lastPrinted>2020-03-29T12:41:23Z</cp:lastPrinted>
  <dcterms:created xsi:type="dcterms:W3CDTF">2019-10-08T08:06:46Z</dcterms:created>
  <dcterms:modified xsi:type="dcterms:W3CDTF">2021-01-21T16:2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